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4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0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16" userDrawn="1">
          <p15:clr>
            <a:srgbClr val="A4A3A4"/>
          </p15:clr>
        </p15:guide>
        <p15:guide id="7" orient="horz" pos="37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E5E5E5"/>
    <a:srgbClr val="C60018"/>
    <a:srgbClr val="8D8D8D"/>
    <a:srgbClr val="BDBDBD"/>
    <a:srgbClr val="A20013"/>
    <a:srgbClr val="EB0000"/>
    <a:srgbClr val="444444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71" autoAdjust="0"/>
    <p:restoredTop sz="94660"/>
  </p:normalViewPr>
  <p:slideViewPr>
    <p:cSldViewPr snapToGrid="0">
      <p:cViewPr varScale="1">
        <p:scale>
          <a:sx n="148" d="100"/>
          <a:sy n="148" d="100"/>
        </p:scale>
        <p:origin x="1278" y="114"/>
      </p:cViewPr>
      <p:guideLst>
        <p:guide orient="horz" pos="3810"/>
        <p:guide pos="937"/>
        <p:guide pos="6743"/>
        <p:guide orient="horz" pos="1185"/>
        <p:guide pos="7333"/>
        <p:guide orient="horz" pos="3716"/>
        <p:guide orient="horz" pos="377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1466811-AD3D-49C3-948C-A50135232A05}"/>
    <pc:docChg chg="delSld">
      <pc:chgData name="Meyer Raphael (PAR-ES)" userId="79615dfe-ed48-4e74-a40f-4f7b034c1c27" providerId="ADAL" clId="{21466811-AD3D-49C3-948C-A50135232A05}" dt="2022-03-09T15:20:37.893" v="1" actId="47"/>
      <pc:docMkLst>
        <pc:docMk/>
      </pc:docMkLst>
      <pc:sldChg chg="del">
        <pc:chgData name="Meyer Raphael (PAR-ES)" userId="79615dfe-ed48-4e74-a40f-4f7b034c1c27" providerId="ADAL" clId="{21466811-AD3D-49C3-948C-A50135232A05}" dt="2022-03-09T15:20:35.083" v="0" actId="47"/>
        <pc:sldMkLst>
          <pc:docMk/>
          <pc:sldMk cId="3064315074" sldId="413"/>
        </pc:sldMkLst>
      </pc:sldChg>
      <pc:sldChg chg="del">
        <pc:chgData name="Meyer Raphael (PAR-ES)" userId="79615dfe-ed48-4e74-a40f-4f7b034c1c27" providerId="ADAL" clId="{21466811-AD3D-49C3-948C-A50135232A05}" dt="2022-03-09T15:20:37.893" v="1" actId="47"/>
        <pc:sldMkLst>
          <pc:docMk/>
          <pc:sldMk cId="3878003729" sldId="415"/>
        </pc:sldMkLst>
      </pc:sldChg>
      <pc:sldChg chg="del">
        <pc:chgData name="Meyer Raphael (PAR-ES)" userId="79615dfe-ed48-4e74-a40f-4f7b034c1c27" providerId="ADAL" clId="{21466811-AD3D-49C3-948C-A50135232A05}" dt="2022-03-09T15:20:37.893" v="1" actId="47"/>
        <pc:sldMkLst>
          <pc:docMk/>
          <pc:sldMk cId="2150380132" sldId="416"/>
        </pc:sldMkLst>
      </pc:sldChg>
    </pc:docChg>
  </pc:docChgLst>
  <pc:docChgLst>
    <pc:chgData name="Weigel Stefan (PAR-ES)" userId="fd3b2067-2981-4ad8-bf3a-d2e1004e4fa8" providerId="ADAL" clId="{674A7E96-048B-4A95-8DA8-1B74A584BE97}"/>
    <pc:docChg chg="modSld">
      <pc:chgData name="Weigel Stefan (PAR-ES)" userId="fd3b2067-2981-4ad8-bf3a-d2e1004e4fa8" providerId="ADAL" clId="{674A7E96-048B-4A95-8DA8-1B74A584BE97}" dt="2023-01-31T18:15:40.941" v="32"/>
      <pc:docMkLst>
        <pc:docMk/>
      </pc:docMkLst>
      <pc:sldChg chg="modSp mod">
        <pc:chgData name="Weigel Stefan (PAR-ES)" userId="fd3b2067-2981-4ad8-bf3a-d2e1004e4fa8" providerId="ADAL" clId="{674A7E96-048B-4A95-8DA8-1B74A584BE97}" dt="2023-01-31T18:15:40.941" v="32"/>
        <pc:sldMkLst>
          <pc:docMk/>
          <pc:sldMk cId="1214120989" sldId="414"/>
        </pc:sldMkLst>
        <pc:spChg chg="mod">
          <ac:chgData name="Weigel Stefan (PAR-ES)" userId="fd3b2067-2981-4ad8-bf3a-d2e1004e4fa8" providerId="ADAL" clId="{674A7E96-048B-4A95-8DA8-1B74A584BE97}" dt="2023-01-31T18:11:57.820" v="1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674A7E96-048B-4A95-8DA8-1B74A584BE97}" dt="2023-01-31T18:12:05.942" v="13" actId="20577"/>
          <ac:spMkLst>
            <pc:docMk/>
            <pc:sldMk cId="1214120989" sldId="414"/>
            <ac:spMk id="11" creationId="{51A102DA-4F4E-474F-9E16-1E7F70764A16}"/>
          </ac:spMkLst>
        </pc:spChg>
        <pc:graphicFrameChg chg="mod">
          <ac:chgData name="Weigel Stefan (PAR-ES)" userId="fd3b2067-2981-4ad8-bf3a-d2e1004e4fa8" providerId="ADAL" clId="{674A7E96-048B-4A95-8DA8-1B74A584BE97}" dt="2023-01-31T18:15:40.941" v="32"/>
          <ac:graphicFrameMkLst>
            <pc:docMk/>
            <pc:sldMk cId="1214120989" sldId="414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78FD9AF3-DD98-49F5-BF8B-FC56F13A595F}"/>
    <pc:docChg chg="custSel addSld delSld modSld">
      <pc:chgData name="Meyer Raphael (PAR-ES)" userId="79615dfe-ed48-4e74-a40f-4f7b034c1c27" providerId="ADAL" clId="{78FD9AF3-DD98-49F5-BF8B-FC56F13A595F}" dt="2022-03-09T13:58:52.464" v="97" actId="27918"/>
      <pc:docMkLst>
        <pc:docMk/>
      </pc:docMkLst>
      <pc:sldChg chg="del">
        <pc:chgData name="Meyer Raphael (PAR-ES)" userId="79615dfe-ed48-4e74-a40f-4f7b034c1c27" providerId="ADAL" clId="{78FD9AF3-DD98-49F5-BF8B-FC56F13A595F}" dt="2022-03-09T13:45:01.459" v="0" actId="47"/>
        <pc:sldMkLst>
          <pc:docMk/>
          <pc:sldMk cId="2641487227" sldId="271"/>
        </pc:sldMkLst>
      </pc:sldChg>
      <pc:sldChg chg="mod">
        <pc:chgData name="Meyer Raphael (PAR-ES)" userId="79615dfe-ed48-4e74-a40f-4f7b034c1c27" providerId="ADAL" clId="{78FD9AF3-DD98-49F5-BF8B-FC56F13A595F}" dt="2022-03-09T13:50:26.671" v="22" actId="27918"/>
        <pc:sldMkLst>
          <pc:docMk/>
          <pc:sldMk cId="3064315074" sldId="413"/>
        </pc:sldMkLst>
      </pc:sldChg>
      <pc:sldChg chg="modSp add mod">
        <pc:chgData name="Meyer Raphael (PAR-ES)" userId="79615dfe-ed48-4e74-a40f-4f7b034c1c27" providerId="ADAL" clId="{78FD9AF3-DD98-49F5-BF8B-FC56F13A595F}" dt="2022-03-09T13:52:40.046" v="43"/>
        <pc:sldMkLst>
          <pc:docMk/>
          <pc:sldMk cId="1214120989" sldId="414"/>
        </pc:sldMkLst>
        <pc:spChg chg="mod">
          <ac:chgData name="Meyer Raphael (PAR-ES)" userId="79615dfe-ed48-4e74-a40f-4f7b034c1c27" providerId="ADAL" clId="{78FD9AF3-DD98-49F5-BF8B-FC56F13A595F}" dt="2022-03-09T13:51:13.864" v="30" actId="20577"/>
          <ac:spMkLst>
            <pc:docMk/>
            <pc:sldMk cId="1214120989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1:37.128" v="37" actId="2057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2:40.046" v="43"/>
          <ac:spMkLst>
            <pc:docMk/>
            <pc:sldMk cId="1214120989" sldId="414"/>
            <ac:spMk id="12" creationId="{00D4BB6A-0DD0-4B80-9845-0467B947A6BE}"/>
          </ac:spMkLst>
        </pc:spChg>
      </pc:sldChg>
      <pc:sldChg chg="modSp add del mod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1298817908" sldId="414"/>
        </pc:sldMkLst>
        <pc:spChg chg="mod">
          <ac:chgData name="Meyer Raphael (PAR-ES)" userId="79615dfe-ed48-4e74-a40f-4f7b034c1c27" providerId="ADAL" clId="{78FD9AF3-DD98-49F5-BF8B-FC56F13A595F}" dt="2022-03-09T13:46:41.249" v="4"/>
          <ac:spMkLst>
            <pc:docMk/>
            <pc:sldMk cId="1298817908" sldId="41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47:10.506" v="12" actId="20577"/>
          <ac:spMkLst>
            <pc:docMk/>
            <pc:sldMk cId="1298817908" sldId="414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46:51.898" v="5"/>
          <ac:spMkLst>
            <pc:docMk/>
            <pc:sldMk cId="1298817908" sldId="414"/>
            <ac:spMk id="12" creationId="{00D4BB6A-0DD0-4B80-9845-0467B947A6BE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3764143661" sldId="415"/>
        </pc:sldMkLst>
      </pc:sldChg>
      <pc:sldChg chg="modSp add mod">
        <pc:chgData name="Meyer Raphael (PAR-ES)" userId="79615dfe-ed48-4e74-a40f-4f7b034c1c27" providerId="ADAL" clId="{78FD9AF3-DD98-49F5-BF8B-FC56F13A595F}" dt="2022-03-09T13:55:39.628" v="75" actId="27918"/>
        <pc:sldMkLst>
          <pc:docMk/>
          <pc:sldMk cId="3878003729" sldId="415"/>
        </pc:sldMkLst>
        <pc:spChg chg="mod">
          <ac:chgData name="Meyer Raphael (PAR-ES)" userId="79615dfe-ed48-4e74-a40f-4f7b034c1c27" providerId="ADAL" clId="{78FD9AF3-DD98-49F5-BF8B-FC56F13A595F}" dt="2022-03-09T13:53:38.095" v="48" actId="20577"/>
          <ac:spMkLst>
            <pc:docMk/>
            <pc:sldMk cId="3878003729" sldId="41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4:22.863" v="60" actId="20577"/>
          <ac:spMkLst>
            <pc:docMk/>
            <pc:sldMk cId="3878003729" sldId="415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3:49.614" v="49"/>
          <ac:spMkLst>
            <pc:docMk/>
            <pc:sldMk cId="3878003729" sldId="415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4:39.731" v="66" actId="20577"/>
          <ac:spMkLst>
            <pc:docMk/>
            <pc:sldMk cId="3878003729" sldId="415"/>
            <ac:spMk id="13" creationId="{CB2EBD8C-0882-42C3-B5F5-BA01B7BFF2C3}"/>
          </ac:spMkLst>
        </pc:spChg>
      </pc:sldChg>
      <pc:sldChg chg="modSp add mod">
        <pc:chgData name="Meyer Raphael (PAR-ES)" userId="79615dfe-ed48-4e74-a40f-4f7b034c1c27" providerId="ADAL" clId="{78FD9AF3-DD98-49F5-BF8B-FC56F13A595F}" dt="2022-03-09T13:58:52.464" v="97" actId="27918"/>
        <pc:sldMkLst>
          <pc:docMk/>
          <pc:sldMk cId="2150380132" sldId="416"/>
        </pc:sldMkLst>
        <pc:spChg chg="mod">
          <ac:chgData name="Meyer Raphael (PAR-ES)" userId="79615dfe-ed48-4e74-a40f-4f7b034c1c27" providerId="ADAL" clId="{78FD9AF3-DD98-49F5-BF8B-FC56F13A595F}" dt="2022-03-09T13:56:38.884" v="80" actId="20577"/>
          <ac:spMkLst>
            <pc:docMk/>
            <pc:sldMk cId="2150380132" sldId="41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8FD9AF3-DD98-49F5-BF8B-FC56F13A595F}" dt="2022-03-09T13:57:02.897" v="86" actId="20577"/>
          <ac:spMkLst>
            <pc:docMk/>
            <pc:sldMk cId="2150380132" sldId="416"/>
            <ac:spMk id="11" creationId="{51A102DA-4F4E-474F-9E16-1E7F70764A16}"/>
          </ac:spMkLst>
        </pc:spChg>
        <pc:spChg chg="mod">
          <ac:chgData name="Meyer Raphael (PAR-ES)" userId="79615dfe-ed48-4e74-a40f-4f7b034c1c27" providerId="ADAL" clId="{78FD9AF3-DD98-49F5-BF8B-FC56F13A595F}" dt="2022-03-09T13:56:50.781" v="81"/>
          <ac:spMkLst>
            <pc:docMk/>
            <pc:sldMk cId="2150380132" sldId="416"/>
            <ac:spMk id="12" creationId="{00D4BB6A-0DD0-4B80-9845-0467B947A6BE}"/>
          </ac:spMkLst>
        </pc:spChg>
        <pc:spChg chg="mod">
          <ac:chgData name="Meyer Raphael (PAR-ES)" userId="79615dfe-ed48-4e74-a40f-4f7b034c1c27" providerId="ADAL" clId="{78FD9AF3-DD98-49F5-BF8B-FC56F13A595F}" dt="2022-03-09T13:57:39.484" v="92" actId="20577"/>
          <ac:spMkLst>
            <pc:docMk/>
            <pc:sldMk cId="2150380132" sldId="416"/>
            <ac:spMk id="13" creationId="{CB2EBD8C-0882-42C3-B5F5-BA01B7BFF2C3}"/>
          </ac:spMkLst>
        </pc:spChg>
      </pc:sldChg>
      <pc:sldChg chg="add del">
        <pc:chgData name="Meyer Raphael (PAR-ES)" userId="79615dfe-ed48-4e74-a40f-4f7b034c1c27" providerId="ADAL" clId="{78FD9AF3-DD98-49F5-BF8B-FC56F13A595F}" dt="2022-03-09T13:49:09.503" v="19" actId="47"/>
        <pc:sldMkLst>
          <pc:docMk/>
          <pc:sldMk cId="2931763869" sldId="41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PS)" userId="79615dfe-ed48-4e74-a40f-4f7b034c1c27" providerId="ADAL" clId="{641322EF-5E11-4D0A-9AB6-FF89101906A6}"/>
    <pc:docChg chg="modSld">
      <pc:chgData name="Meyer Raphael (PAR-EPS)" userId="79615dfe-ed48-4e74-a40f-4f7b034c1c27" providerId="ADAL" clId="{641322EF-5E11-4D0A-9AB6-FF89101906A6}" dt="2024-10-30T07:25:36.258" v="4" actId="27918"/>
      <pc:docMkLst>
        <pc:docMk/>
      </pc:docMkLst>
      <pc:sldChg chg="mod">
        <pc:chgData name="Meyer Raphael (PAR-EPS)" userId="79615dfe-ed48-4e74-a40f-4f7b034c1c27" providerId="ADAL" clId="{641322EF-5E11-4D0A-9AB6-FF89101906A6}" dt="2024-10-30T07:25:36.258" v="4" actId="27918"/>
        <pc:sldMkLst>
          <pc:docMk/>
          <pc:sldMk cId="1214120989" sldId="414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B3134076-241D-49A8-BDE6-7DC2169DB06A}"/>
    <pc:docChg chg="modSld">
      <pc:chgData name="Meyer Raphael (PAR-ES)" userId="79615dfe-ed48-4e74-a40f-4f7b034c1c27" providerId="ADAL" clId="{B3134076-241D-49A8-BDE6-7DC2169DB06A}" dt="2021-11-30T12:10:05.292" v="4" actId="27918"/>
      <pc:docMkLst>
        <pc:docMk/>
      </pc:docMkLst>
      <pc:sldChg chg="mod">
        <pc:chgData name="Meyer Raphael (PAR-ES)" userId="79615dfe-ed48-4e74-a40f-4f7b034c1c27" providerId="ADAL" clId="{B3134076-241D-49A8-BDE6-7DC2169DB06A}" dt="2021-11-30T12:10:05.292" v="4" actId="27918"/>
        <pc:sldMkLst>
          <pc:docMk/>
          <pc:sldMk cId="2641487227" sldId="271"/>
        </pc:sldMkLst>
      </pc:sldChg>
    </pc:docChg>
  </pc:docChgLst>
  <pc:docChgLst>
    <pc:chgData name="Meyer Raphael (PAR-ES)" userId="79615dfe-ed48-4e74-a40f-4f7b034c1c27" providerId="ADAL" clId="{CC037D72-AD94-45AC-86A2-5E4959515F3C}"/>
    <pc:docChg chg="custSel modSld">
      <pc:chgData name="Meyer Raphael (PAR-ES)" userId="79615dfe-ed48-4e74-a40f-4f7b034c1c27" providerId="ADAL" clId="{CC037D72-AD94-45AC-86A2-5E4959515F3C}" dt="2021-11-16T15:17:44.639" v="188"/>
      <pc:docMkLst>
        <pc:docMk/>
      </pc:docMkLst>
      <pc:sldChg chg="addSp delSp modSp mod">
        <pc:chgData name="Meyer Raphael (PAR-ES)" userId="79615dfe-ed48-4e74-a40f-4f7b034c1c27" providerId="ADAL" clId="{CC037D72-AD94-45AC-86A2-5E4959515F3C}" dt="2021-11-16T15:17:44.639" v="188"/>
        <pc:sldMkLst>
          <pc:docMk/>
          <pc:sldMk cId="2641487227" sldId="271"/>
        </pc:sldMkLst>
        <pc:spChg chg="add del mod">
          <ac:chgData name="Meyer Raphael (PAR-ES)" userId="79615dfe-ed48-4e74-a40f-4f7b034c1c27" providerId="ADAL" clId="{CC037D72-AD94-45AC-86A2-5E4959515F3C}" dt="2021-11-16T15:02:17.381" v="128" actId="478"/>
          <ac:spMkLst>
            <pc:docMk/>
            <pc:sldMk cId="2641487227" sldId="271"/>
            <ac:spMk id="3" creationId="{75819DB9-B5A3-47E4-858A-DC0D2C5DA1C7}"/>
          </ac:spMkLst>
        </pc:spChg>
        <pc:spChg chg="mod">
          <ac:chgData name="Meyer Raphael (PAR-ES)" userId="79615dfe-ed48-4e74-a40f-4f7b034c1c27" providerId="ADAL" clId="{CC037D72-AD94-45AC-86A2-5E4959515F3C}" dt="2021-11-16T14:49:37.120" v="90" actId="20577"/>
          <ac:spMkLst>
            <pc:docMk/>
            <pc:sldMk cId="2641487227" sldId="271"/>
            <ac:spMk id="6" creationId="{0148E78D-7FBB-46BC-A7E3-0EFE6D9E4679}"/>
          </ac:spMkLst>
        </pc:spChg>
        <pc:spChg chg="add del mod">
          <ac:chgData name="Meyer Raphael (PAR-ES)" userId="79615dfe-ed48-4e74-a40f-4f7b034c1c27" providerId="ADAL" clId="{CC037D72-AD94-45AC-86A2-5E4959515F3C}" dt="2021-11-16T15:02:14.806" v="127" actId="478"/>
          <ac:spMkLst>
            <pc:docMk/>
            <pc:sldMk cId="2641487227" sldId="271"/>
            <ac:spMk id="8" creationId="{03CE64C9-F04E-48CE-8658-CF9D275647F6}"/>
          </ac:spMkLst>
        </pc:spChg>
        <pc:spChg chg="mod">
          <ac:chgData name="Meyer Raphael (PAR-ES)" userId="79615dfe-ed48-4e74-a40f-4f7b034c1c27" providerId="ADAL" clId="{CC037D72-AD94-45AC-86A2-5E4959515F3C}" dt="2021-11-16T14:53:39.256" v="100" actId="20577"/>
          <ac:spMkLst>
            <pc:docMk/>
            <pc:sldMk cId="2641487227" sldId="271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CC037D72-AD94-45AC-86A2-5E4959515F3C}" dt="2021-11-16T15:17:44.639" v="188"/>
          <ac:graphicFrameMkLst>
            <pc:docMk/>
            <pc:sldMk cId="2641487227" sldId="27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Weigel Stefan (PAR-EPS)" userId="fd3b2067-2981-4ad8-bf3a-d2e1004e4fa8" providerId="ADAL" clId="{56F0516A-1704-4813-8F51-5F94164A216A}"/>
    <pc:docChg chg="modSld">
      <pc:chgData name="Weigel Stefan (PAR-EPS)" userId="fd3b2067-2981-4ad8-bf3a-d2e1004e4fa8" providerId="ADAL" clId="{56F0516A-1704-4813-8F51-5F94164A216A}" dt="2025-02-24T10:04:04.549" v="6" actId="27918"/>
      <pc:docMkLst>
        <pc:docMk/>
      </pc:docMkLst>
      <pc:sldChg chg="modSp mod">
        <pc:chgData name="Weigel Stefan (PAR-EPS)" userId="fd3b2067-2981-4ad8-bf3a-d2e1004e4fa8" providerId="ADAL" clId="{56F0516A-1704-4813-8F51-5F94164A216A}" dt="2025-02-24T10:04:04.549" v="6" actId="27918"/>
        <pc:sldMkLst>
          <pc:docMk/>
          <pc:sldMk cId="1214120989" sldId="414"/>
        </pc:sldMkLst>
        <pc:spChg chg="mod">
          <ac:chgData name="Weigel Stefan (PAR-EPS)" userId="fd3b2067-2981-4ad8-bf3a-d2e1004e4fa8" providerId="ADAL" clId="{56F0516A-1704-4813-8F51-5F94164A216A}" dt="2025-02-24T10:03:12.096" v="1" actId="20577"/>
          <ac:spMkLst>
            <pc:docMk/>
            <pc:sldMk cId="1214120989" sldId="414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Weigel Stefan (PAR-EPS)" userId="fd3b2067-2981-4ad8-bf3a-d2e1004e4fa8" providerId="ADAL" clId="{3613ED2E-5630-47EE-AFAB-2DAC3552DDF1}"/>
    <pc:docChg chg="modSld">
      <pc:chgData name="Weigel Stefan (PAR-EPS)" userId="fd3b2067-2981-4ad8-bf3a-d2e1004e4fa8" providerId="ADAL" clId="{3613ED2E-5630-47EE-AFAB-2DAC3552DDF1}" dt="2024-02-28T12:03:47.505" v="2" actId="27918"/>
      <pc:docMkLst>
        <pc:docMk/>
      </pc:docMkLst>
      <pc:sldChg chg="mod">
        <pc:chgData name="Weigel Stefan (PAR-EPS)" userId="fd3b2067-2981-4ad8-bf3a-d2e1004e4fa8" providerId="ADAL" clId="{3613ED2E-5630-47EE-AFAB-2DAC3552DDF1}" dt="2024-02-28T12:03:47.505" v="2" actId="27918"/>
        <pc:sldMkLst>
          <pc:docMk/>
          <pc:sldMk cId="1214120989" sldId="414"/>
        </pc:sldMkLst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Weigel Stefan (PAR-EPS)" userId="fd3b2067-2981-4ad8-bf3a-d2e1004e4fa8" providerId="ADAL" clId="{799C4FCF-A015-4426-884F-1565B278BD44}"/>
    <pc:docChg chg="modSld">
      <pc:chgData name="Weigel Stefan (PAR-EPS)" userId="fd3b2067-2981-4ad8-bf3a-d2e1004e4fa8" providerId="ADAL" clId="{799C4FCF-A015-4426-884F-1565B278BD44}" dt="2024-02-13T15:48:20.489" v="79" actId="20577"/>
      <pc:docMkLst>
        <pc:docMk/>
      </pc:docMkLst>
      <pc:sldChg chg="addSp modSp mod">
        <pc:chgData name="Weigel Stefan (PAR-EPS)" userId="fd3b2067-2981-4ad8-bf3a-d2e1004e4fa8" providerId="ADAL" clId="{799C4FCF-A015-4426-884F-1565B278BD44}" dt="2024-02-13T15:48:20.489" v="79" actId="20577"/>
        <pc:sldMkLst>
          <pc:docMk/>
          <pc:sldMk cId="1214120989" sldId="414"/>
        </pc:sldMkLst>
        <pc:spChg chg="mod">
          <ac:chgData name="Weigel Stefan (PAR-EPS)" userId="fd3b2067-2981-4ad8-bf3a-d2e1004e4fa8" providerId="ADAL" clId="{799C4FCF-A015-4426-884F-1565B278BD44}" dt="2024-02-02T09:13:07.462" v="1" actId="20577"/>
          <ac:spMkLst>
            <pc:docMk/>
            <pc:sldMk cId="1214120989" sldId="414"/>
            <ac:spMk id="2" creationId="{00000000-0000-0000-0000-000000000000}"/>
          </ac:spMkLst>
        </pc:spChg>
        <pc:spChg chg="add mod">
          <ac:chgData name="Weigel Stefan (PAR-EPS)" userId="fd3b2067-2981-4ad8-bf3a-d2e1004e4fa8" providerId="ADAL" clId="{799C4FCF-A015-4426-884F-1565B278BD44}" dt="2024-02-13T15:46:50.263" v="72"/>
          <ac:spMkLst>
            <pc:docMk/>
            <pc:sldMk cId="1214120989" sldId="414"/>
            <ac:spMk id="3" creationId="{B2E94FB4-FF5A-4A4F-2647-59A1E4A5872A}"/>
          </ac:spMkLst>
        </pc:spChg>
        <pc:spChg chg="mod">
          <ac:chgData name="Weigel Stefan (PAR-EPS)" userId="fd3b2067-2981-4ad8-bf3a-d2e1004e4fa8" providerId="ADAL" clId="{799C4FCF-A015-4426-884F-1565B278BD44}" dt="2024-02-13T15:48:20.489" v="79" actId="20577"/>
          <ac:spMkLst>
            <pc:docMk/>
            <pc:sldMk cId="1214120989" sldId="414"/>
            <ac:spMk id="11" creationId="{51A102DA-4F4E-474F-9E16-1E7F70764A16}"/>
          </ac:spMkLst>
        </pc:spChg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3F817C4B-F866-4FC9-921E-DA547AE7CCD2}"/>
    <pc:docChg chg="modSld">
      <pc:chgData name="Meyer Raphael (PAR-ES)" userId="79615dfe-ed48-4e74-a40f-4f7b034c1c27" providerId="ADAL" clId="{3F817C4B-F866-4FC9-921E-DA547AE7CCD2}" dt="2021-11-04T13:41:11.916" v="44" actId="1038"/>
      <pc:docMkLst>
        <pc:docMk/>
      </pc:docMkLst>
      <pc:sldChg chg="modSp mod">
        <pc:chgData name="Meyer Raphael (PAR-ES)" userId="79615dfe-ed48-4e74-a40f-4f7b034c1c27" providerId="ADAL" clId="{3F817C4B-F866-4FC9-921E-DA547AE7CCD2}" dt="2021-11-04T13:40:48.028" v="10" actId="1038"/>
        <pc:sldMkLst>
          <pc:docMk/>
          <pc:sldMk cId="3808035539" sldId="270"/>
        </pc:sldMkLst>
        <pc:spChg chg="mod">
          <ac:chgData name="Meyer Raphael (PAR-ES)" userId="79615dfe-ed48-4e74-a40f-4f7b034c1c27" providerId="ADAL" clId="{3F817C4B-F866-4FC9-921E-DA547AE7CCD2}" dt="2021-11-04T13:40:48.028" v="10" actId="1038"/>
          <ac:spMkLst>
            <pc:docMk/>
            <pc:sldMk cId="3808035539" sldId="270"/>
            <ac:spMk id="10" creationId="{41B9B9AB-4B12-4760-AF37-4FABDDFAE68B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0:56.482" v="21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3F817C4B-F866-4FC9-921E-DA547AE7CCD2}" dt="2021-11-04T13:40:56.482" v="21" actId="1038"/>
          <ac:spMkLst>
            <pc:docMk/>
            <pc:sldMk cId="3677740869" sldId="271"/>
            <ac:spMk id="6" creationId="{43DF758D-1D72-4940-A1AE-B914B7A641D5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04.249" v="33" actId="1038"/>
        <pc:sldMkLst>
          <pc:docMk/>
          <pc:sldMk cId="1963209825" sldId="272"/>
        </pc:sldMkLst>
        <pc:spChg chg="mod">
          <ac:chgData name="Meyer Raphael (PAR-ES)" userId="79615dfe-ed48-4e74-a40f-4f7b034c1c27" providerId="ADAL" clId="{3F817C4B-F866-4FC9-921E-DA547AE7CCD2}" dt="2021-11-04T13:41:04.249" v="33" actId="1038"/>
          <ac:spMkLst>
            <pc:docMk/>
            <pc:sldMk cId="1963209825" sldId="272"/>
            <ac:spMk id="6" creationId="{CF6DBC6D-330A-4C20-9AEB-024C54AD5363}"/>
          </ac:spMkLst>
        </pc:spChg>
      </pc:sldChg>
      <pc:sldChg chg="modSp mod">
        <pc:chgData name="Meyer Raphael (PAR-ES)" userId="79615dfe-ed48-4e74-a40f-4f7b034c1c27" providerId="ADAL" clId="{3F817C4B-F866-4FC9-921E-DA547AE7CCD2}" dt="2021-11-04T13:41:11.916" v="44" actId="1038"/>
        <pc:sldMkLst>
          <pc:docMk/>
          <pc:sldMk cId="1065586608" sldId="273"/>
        </pc:sldMkLst>
        <pc:spChg chg="mod">
          <ac:chgData name="Meyer Raphael (PAR-ES)" userId="79615dfe-ed48-4e74-a40f-4f7b034c1c27" providerId="ADAL" clId="{3F817C4B-F866-4FC9-921E-DA547AE7CCD2}" dt="2021-11-04T13:41:11.916" v="44" actId="1038"/>
          <ac:spMkLst>
            <pc:docMk/>
            <pc:sldMk cId="1065586608" sldId="273"/>
            <ac:spMk id="6" creationId="{E0F162F0-F370-43B9-9CC4-2142C851FD99}"/>
          </ac:spMkLst>
        </pc:sp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AD707207-28DB-44DB-BFE3-BB16A1A03D6C}"/>
    <pc:docChg chg="addSld delSld modSld">
      <pc:chgData name="Meyer Raphael (PAR-ES)" userId="79615dfe-ed48-4e74-a40f-4f7b034c1c27" providerId="ADAL" clId="{AD707207-28DB-44DB-BFE3-BB16A1A03D6C}" dt="2021-11-08T12:03:59.863" v="4" actId="47"/>
      <pc:docMkLst>
        <pc:docMk/>
      </pc:docMkLst>
      <pc:sldChg chg="del">
        <pc:chgData name="Meyer Raphael (PAR-ES)" userId="79615dfe-ed48-4e74-a40f-4f7b034c1c27" providerId="ADAL" clId="{AD707207-28DB-44DB-BFE3-BB16A1A03D6C}" dt="2021-11-08T12:03:59.863" v="4" actId="47"/>
        <pc:sldMkLst>
          <pc:docMk/>
          <pc:sldMk cId="3808035539" sldId="270"/>
        </pc:sldMkLst>
      </pc:sldChg>
      <pc:sldChg chg="add">
        <pc:chgData name="Meyer Raphael (PAR-ES)" userId="79615dfe-ed48-4e74-a40f-4f7b034c1c27" providerId="ADAL" clId="{AD707207-28DB-44DB-BFE3-BB16A1A03D6C}" dt="2021-11-08T11:51:36.065" v="0" actId="2890"/>
        <pc:sldMkLst>
          <pc:docMk/>
          <pc:sldMk cId="2641487227" sldId="271"/>
        </pc:sldMkLst>
      </pc:sldChg>
      <pc:sldChg chg="addSp modSp new del">
        <pc:chgData name="Meyer Raphael (PAR-ES)" userId="79615dfe-ed48-4e74-a40f-4f7b034c1c27" providerId="ADAL" clId="{AD707207-28DB-44DB-BFE3-BB16A1A03D6C}" dt="2021-11-08T12:03:52.132" v="3" actId="47"/>
        <pc:sldMkLst>
          <pc:docMk/>
          <pc:sldMk cId="934294936" sldId="272"/>
        </pc:sldMkLst>
        <pc:graphicFrameChg chg="add mod">
          <ac:chgData name="Meyer Raphael (PAR-ES)" userId="79615dfe-ed48-4e74-a40f-4f7b034c1c27" providerId="ADAL" clId="{AD707207-28DB-44DB-BFE3-BB16A1A03D6C}" dt="2021-11-08T12:03:44.764" v="2"/>
          <ac:graphicFrameMkLst>
            <pc:docMk/>
            <pc:sldMk cId="934294936" sldId="272"/>
            <ac:graphicFrameMk id="6" creationId="{C4C775E3-3FF9-42C2-9363-3ECDA4A2A7C5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470C434F-95E8-436B-A1F0-5B170DA19DE6}"/>
    <pc:docChg chg="undo custSel addSld modSld">
      <pc:chgData name="Meyer Raphael (PAR-ES)" userId="79615dfe-ed48-4e74-a40f-4f7b034c1c27" providerId="ADAL" clId="{470C434F-95E8-436B-A1F0-5B170DA19DE6}" dt="2021-11-08T09:49:12.579" v="193" actId="27918"/>
      <pc:docMkLst>
        <pc:docMk/>
      </pc:docMkLst>
      <pc:sldChg chg="modSp mod">
        <pc:chgData name="Meyer Raphael (PAR-ES)" userId="79615dfe-ed48-4e74-a40f-4f7b034c1c27" providerId="ADAL" clId="{470C434F-95E8-436B-A1F0-5B170DA19DE6}" dt="2021-11-08T09:39:09.766" v="188" actId="1036"/>
        <pc:sldMkLst>
          <pc:docMk/>
          <pc:sldMk cId="3808035539" sldId="270"/>
        </pc:sldMkLst>
        <pc:spChg chg="mod">
          <ac:chgData name="Meyer Raphael (PAR-ES)" userId="79615dfe-ed48-4e74-a40f-4f7b034c1c27" providerId="ADAL" clId="{470C434F-95E8-436B-A1F0-5B170DA19DE6}" dt="2021-11-08T09:35:57.599" v="45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70C434F-95E8-436B-A1F0-5B170DA19DE6}" dt="2021-11-08T09:37:06.055" v="129" actId="20577"/>
          <ac:spMkLst>
            <pc:docMk/>
            <pc:sldMk cId="3808035539" sldId="270"/>
            <ac:spMk id="6" creationId="{0148E78D-7FBB-46BC-A7E3-0EFE6D9E4679}"/>
          </ac:spMkLst>
        </pc:spChg>
        <pc:spChg chg="mod">
          <ac:chgData name="Meyer Raphael (PAR-ES)" userId="79615dfe-ed48-4e74-a40f-4f7b034c1c27" providerId="ADAL" clId="{470C434F-95E8-436B-A1F0-5B170DA19DE6}" dt="2021-11-08T09:39:09.766" v="188" actId="1036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Meyer Raphael (PAR-ES)" userId="79615dfe-ed48-4e74-a40f-4f7b034c1c27" providerId="ADAL" clId="{470C434F-95E8-436B-A1F0-5B170DA19DE6}" dt="2021-11-08T09:35:17.046" v="23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add mod">
        <pc:chgData name="Meyer Raphael (PAR-ES)" userId="79615dfe-ed48-4e74-a40f-4f7b034c1c27" providerId="ADAL" clId="{470C434F-95E8-436B-A1F0-5B170DA19DE6}" dt="2021-11-08T09:49:12.579" v="193" actId="27918"/>
        <pc:sldMkLst>
          <pc:docMk/>
          <pc:sldMk cId="2540367841" sldId="274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B0BB2990-BF64-46AB-A240-A59F5564FCD2}"/>
    <pc:docChg chg="modSld">
      <pc:chgData name="Weigel Stefan (PAR-EPS)" userId="fd3b2067-2981-4ad8-bf3a-d2e1004e4fa8" providerId="ADAL" clId="{B0BB2990-BF64-46AB-A240-A59F5564FCD2}" dt="2024-04-25T07:30:54.331" v="22" actId="692"/>
      <pc:docMkLst>
        <pc:docMk/>
      </pc:docMkLst>
      <pc:sldChg chg="modSp mod">
        <pc:chgData name="Weigel Stefan (PAR-EPS)" userId="fd3b2067-2981-4ad8-bf3a-d2e1004e4fa8" providerId="ADAL" clId="{B0BB2990-BF64-46AB-A240-A59F5564FCD2}" dt="2024-04-25T07:30:54.331" v="22" actId="692"/>
        <pc:sldMkLst>
          <pc:docMk/>
          <pc:sldMk cId="1214120989" sldId="414"/>
        </pc:sldMkLst>
        <pc:spChg chg="mod">
          <ac:chgData name="Weigel Stefan (PAR-EPS)" userId="fd3b2067-2981-4ad8-bf3a-d2e1004e4fa8" providerId="ADAL" clId="{B0BB2990-BF64-46AB-A240-A59F5564FCD2}" dt="2024-04-25T07:29:17.169" v="16" actId="207"/>
          <ac:spMkLst>
            <pc:docMk/>
            <pc:sldMk cId="1214120989" sldId="414"/>
            <ac:spMk id="11" creationId="{51A102DA-4F4E-474F-9E16-1E7F70764A16}"/>
          </ac:spMkLst>
        </pc:spChg>
        <pc:spChg chg="mod">
          <ac:chgData name="Weigel Stefan (PAR-EPS)" userId="fd3b2067-2981-4ad8-bf3a-d2e1004e4fa8" providerId="ADAL" clId="{B0BB2990-BF64-46AB-A240-A59F5564FCD2}" dt="2024-04-25T07:29:11.272" v="14" actId="255"/>
          <ac:spMkLst>
            <pc:docMk/>
            <pc:sldMk cId="1214120989" sldId="414"/>
            <ac:spMk id="13" creationId="{CB2EBD8C-0882-42C3-B5F5-BA01B7BFF2C3}"/>
          </ac:spMkLst>
        </pc:spChg>
        <pc:graphicFrameChg chg="mod">
          <ac:chgData name="Weigel Stefan (PAR-EPS)" userId="fd3b2067-2981-4ad8-bf3a-d2e1004e4fa8" providerId="ADAL" clId="{B0BB2990-BF64-46AB-A240-A59F5564FCD2}" dt="2024-04-25T07:30:54.331" v="22" actId="692"/>
          <ac:graphicFrameMkLst>
            <pc:docMk/>
            <pc:sldMk cId="1214120989" sldId="414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7ED1063F-D2A9-43CF-91B5-C9448CFA5831}"/>
    <pc:docChg chg="modSld">
      <pc:chgData name="Meyer Raphael (PAR-ES)" userId="79615dfe-ed48-4e74-a40f-4f7b034c1c27" providerId="ADAL" clId="{7ED1063F-D2A9-43CF-91B5-C9448CFA5831}" dt="2021-11-23T10:02:31.376" v="3" actId="20577"/>
      <pc:docMkLst>
        <pc:docMk/>
      </pc:docMkLst>
      <pc:sldChg chg="modSp mod">
        <pc:chgData name="Meyer Raphael (PAR-ES)" userId="79615dfe-ed48-4e74-a40f-4f7b034c1c27" providerId="ADAL" clId="{7ED1063F-D2A9-43CF-91B5-C9448CFA5831}" dt="2021-11-23T10:02:31.376" v="3" actId="20577"/>
        <pc:sldMkLst>
          <pc:docMk/>
          <pc:sldMk cId="2641487227" sldId="271"/>
        </pc:sldMkLst>
        <pc:spChg chg="mod">
          <ac:chgData name="Meyer Raphael (PAR-ES)" userId="79615dfe-ed48-4e74-a40f-4f7b034c1c27" providerId="ADAL" clId="{7ED1063F-D2A9-43CF-91B5-C9448CFA5831}" dt="2021-11-23T10:02:31.376" v="3" actId="20577"/>
          <ac:spMkLst>
            <pc:docMk/>
            <pc:sldMk cId="2641487227" sldId="271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DE7C88A0-74DE-46DA-9412-192AAB9D7595}"/>
    <pc:docChg chg="undo custSel delSld modSld">
      <pc:chgData name="Meyer Raphael (PAR-ES)" userId="79615dfe-ed48-4e74-a40f-4f7b034c1c27" providerId="ADAL" clId="{DE7C88A0-74DE-46DA-9412-192AAB9D7595}" dt="2021-11-08T11:21:13.895" v="201" actId="1035"/>
      <pc:docMkLst>
        <pc:docMk/>
      </pc:docMkLst>
      <pc:sldChg chg="modSp mod">
        <pc:chgData name="Meyer Raphael (PAR-ES)" userId="79615dfe-ed48-4e74-a40f-4f7b034c1c27" providerId="ADAL" clId="{DE7C88A0-74DE-46DA-9412-192AAB9D7595}" dt="2021-11-08T11:05:51.260" v="10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DE7C88A0-74DE-46DA-9412-192AAB9D7595}" dt="2021-11-08T11:05:31.894" v="8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5:51.260" v="10" actId="6549"/>
          <ac:spMkLst>
            <pc:docMk/>
            <pc:sldMk cId="3808035539" sldId="270"/>
            <ac:spMk id="6" creationId="{0148E78D-7FBB-46BC-A7E3-0EFE6D9E4679}"/>
          </ac:spMkLst>
        </pc:spChg>
      </pc:sldChg>
      <pc:sldChg chg="modSp mod">
        <pc:chgData name="Meyer Raphael (PAR-ES)" userId="79615dfe-ed48-4e74-a40f-4f7b034c1c27" providerId="ADAL" clId="{DE7C88A0-74DE-46DA-9412-192AAB9D7595}" dt="2021-11-08T11:10:34.123" v="44" actId="404"/>
        <pc:sldMkLst>
          <pc:docMk/>
          <pc:sldMk cId="3677740869" sldId="271"/>
        </pc:sldMkLst>
        <pc:spChg chg="mod">
          <ac:chgData name="Meyer Raphael (PAR-ES)" userId="79615dfe-ed48-4e74-a40f-4f7b034c1c27" providerId="ADAL" clId="{DE7C88A0-74DE-46DA-9412-192AAB9D7595}" dt="2021-11-08T11:05:40.478" v="9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7:35.668" v="42" actId="20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06:39.910" v="41" actId="1036"/>
          <ac:spMkLst>
            <pc:docMk/>
            <pc:sldMk cId="3677740869" sldId="271"/>
            <ac:spMk id="6" creationId="{43DF758D-1D72-4940-A1AE-B914B7A641D5}"/>
          </ac:spMkLst>
        </pc:spChg>
        <pc:spChg chg="mod">
          <ac:chgData name="Meyer Raphael (PAR-ES)" userId="79615dfe-ed48-4e74-a40f-4f7b034c1c27" providerId="ADAL" clId="{DE7C88A0-74DE-46DA-9412-192AAB9D7595}" dt="2021-11-08T11:03:43.200" v="5" actId="6549"/>
          <ac:spMkLst>
            <pc:docMk/>
            <pc:sldMk cId="3677740869" sldId="271"/>
            <ac:spMk id="7" creationId="{F89A807E-3A97-42E9-81E0-CE2025105F4C}"/>
          </ac:spMkLst>
        </pc:spChg>
        <pc:graphicFrameChg chg="mod">
          <ac:chgData name="Meyer Raphael (PAR-ES)" userId="79615dfe-ed48-4e74-a40f-4f7b034c1c27" providerId="ADAL" clId="{DE7C88A0-74DE-46DA-9412-192AAB9D7595}" dt="2021-11-08T11:10:34.123" v="44" actId="404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17:15.274" v="119" actId="207"/>
        <pc:sldMkLst>
          <pc:docMk/>
          <pc:sldMk cId="1963209825" sldId="272"/>
        </pc:sldMkLst>
        <pc:spChg chg="mod">
          <ac:chgData name="Meyer Raphael (PAR-ES)" userId="79615dfe-ed48-4e74-a40f-4f7b034c1c27" providerId="ADAL" clId="{DE7C88A0-74DE-46DA-9412-192AAB9D7595}" dt="2021-11-08T11:15:24.270" v="92" actId="20577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15.274" v="119" actId="207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6:04.828" v="116" actId="1036"/>
          <ac:spMkLst>
            <pc:docMk/>
            <pc:sldMk cId="1963209825" sldId="272"/>
            <ac:spMk id="6" creationId="{CF6DBC6D-330A-4C20-9AEB-024C54AD5363}"/>
          </ac:spMkLst>
        </pc:spChg>
        <pc:spChg chg="mod">
          <ac:chgData name="Meyer Raphael (PAR-ES)" userId="79615dfe-ed48-4e74-a40f-4f7b034c1c27" providerId="ADAL" clId="{DE7C88A0-74DE-46DA-9412-192AAB9D7595}" dt="2021-11-08T11:15:31.902" v="93" actId="20577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DE7C88A0-74DE-46DA-9412-192AAB9D7595}" dt="2021-11-08T11:16:24.678" v="118" actId="404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E7C88A0-74DE-46DA-9412-192AAB9D7595}" dt="2021-11-08T11:21:13.895" v="201" actId="1035"/>
        <pc:sldMkLst>
          <pc:docMk/>
          <pc:sldMk cId="1065586608" sldId="273"/>
        </pc:sldMkLst>
        <pc:spChg chg="mod">
          <ac:chgData name="Meyer Raphael (PAR-ES)" userId="79615dfe-ed48-4e74-a40f-4f7b034c1c27" providerId="ADAL" clId="{DE7C88A0-74DE-46DA-9412-192AAB9D7595}" dt="2021-11-08T11:20:11.550" v="169" actId="20577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17:28.932" v="120" actId="207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DE7C88A0-74DE-46DA-9412-192AAB9D7595}" dt="2021-11-08T11:21:13.895" v="201" actId="1035"/>
          <ac:spMkLst>
            <pc:docMk/>
            <pc:sldMk cId="1065586608" sldId="273"/>
            <ac:spMk id="6" creationId="{E0F162F0-F370-43B9-9CC4-2142C851FD99}"/>
          </ac:spMkLst>
        </pc:spChg>
        <pc:spChg chg="mod">
          <ac:chgData name="Meyer Raphael (PAR-ES)" userId="79615dfe-ed48-4e74-a40f-4f7b034c1c27" providerId="ADAL" clId="{DE7C88A0-74DE-46DA-9412-192AAB9D7595}" dt="2021-11-08T11:20:21.088" v="170" actId="6549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DE7C88A0-74DE-46DA-9412-192AAB9D7595}" dt="2021-11-08T11:20:57.540" v="174" actId="404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del">
        <pc:chgData name="Meyer Raphael (PAR-ES)" userId="79615dfe-ed48-4e74-a40f-4f7b034c1c27" providerId="ADAL" clId="{DE7C88A0-74DE-46DA-9412-192AAB9D7595}" dt="2021-11-08T10:59:24.534" v="0" actId="2696"/>
        <pc:sldMkLst>
          <pc:docMk/>
          <pc:sldMk cId="2540367841" sldId="274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381B09C-6CC7-4512-B6AD-055336C6B097}"/>
    <pc:docChg chg="delSld">
      <pc:chgData name="Meyer Raphael (PAR-ES)" userId="79615dfe-ed48-4e74-a40f-4f7b034c1c27" providerId="ADAL" clId="{5381B09C-6CC7-4512-B6AD-055336C6B097}" dt="2021-11-08T11:32:43.108" v="0" actId="47"/>
      <pc:docMkLst>
        <pc:docMk/>
      </pc:docMkLst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3677740869" sldId="271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963209825" sldId="272"/>
        </pc:sldMkLst>
      </pc:sldChg>
      <pc:sldChg chg="del">
        <pc:chgData name="Meyer Raphael (PAR-ES)" userId="79615dfe-ed48-4e74-a40f-4f7b034c1c27" providerId="ADAL" clId="{5381B09C-6CC7-4512-B6AD-055336C6B097}" dt="2021-11-08T11:32:43.108" v="0" actId="47"/>
        <pc:sldMkLst>
          <pc:docMk/>
          <pc:sldMk cId="1065586608" sldId="273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F606B207-8952-4A43-A7BE-98A2DD852393}"/>
    <pc:docChg chg="modSld">
      <pc:chgData name="Meyer Raphael (PAR-ES)" userId="79615dfe-ed48-4e74-a40f-4f7b034c1c27" providerId="ADAL" clId="{F606B207-8952-4A43-A7BE-98A2DD852393}" dt="2021-11-04T13:14:52.704" v="3" actId="14100"/>
      <pc:docMkLst>
        <pc:docMk/>
      </pc:docMkLst>
      <pc:sldChg chg="modSp">
        <pc:chgData name="Meyer Raphael (PAR-ES)" userId="79615dfe-ed48-4e74-a40f-4f7b034c1c27" providerId="ADAL" clId="{F606B207-8952-4A43-A7BE-98A2DD852393}" dt="2021-11-04T13:14:38.157" v="0" actId="14100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F606B207-8952-4A43-A7BE-98A2DD852393}" dt="2021-11-04T13:14:38.157" v="0" actId="14100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3.918" v="1" actId="14100"/>
        <pc:sldMkLst>
          <pc:docMk/>
          <pc:sldMk cId="3677740869" sldId="271"/>
        </pc:sldMkLst>
        <pc:graphicFrameChg chg="mod">
          <ac:chgData name="Meyer Raphael (PAR-ES)" userId="79615dfe-ed48-4e74-a40f-4f7b034c1c27" providerId="ADAL" clId="{F606B207-8952-4A43-A7BE-98A2DD852393}" dt="2021-11-04T13:14:43.918" v="1" actId="14100"/>
          <ac:graphicFrameMkLst>
            <pc:docMk/>
            <pc:sldMk cId="3677740869" sldId="271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48.679" v="2" actId="14100"/>
        <pc:sldMkLst>
          <pc:docMk/>
          <pc:sldMk cId="1963209825" sldId="272"/>
        </pc:sldMkLst>
        <pc:graphicFrameChg chg="mod">
          <ac:chgData name="Meyer Raphael (PAR-ES)" userId="79615dfe-ed48-4e74-a40f-4f7b034c1c27" providerId="ADAL" clId="{F606B207-8952-4A43-A7BE-98A2DD852393}" dt="2021-11-04T13:14:48.679" v="2" actId="14100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modSp">
        <pc:chgData name="Meyer Raphael (PAR-ES)" userId="79615dfe-ed48-4e74-a40f-4f7b034c1c27" providerId="ADAL" clId="{F606B207-8952-4A43-A7BE-98A2DD852393}" dt="2021-11-04T13:14:52.704" v="3" actId="14100"/>
        <pc:sldMkLst>
          <pc:docMk/>
          <pc:sldMk cId="1065586608" sldId="273"/>
        </pc:sldMkLst>
        <pc:graphicFrameChg chg="mod">
          <ac:chgData name="Meyer Raphael (PAR-ES)" userId="79615dfe-ed48-4e74-a40f-4f7b034c1c27" providerId="ADAL" clId="{F606B207-8952-4A43-A7BE-98A2DD852393}" dt="2021-11-04T13:14:52.704" v="3" actId="14100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405314246640004"/>
          <c:y val="7.3385318018543436E-2"/>
          <c:w val="0.6627477512207226"/>
          <c:h val="0.729564144102445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M$2</c:f>
              <c:strCache>
                <c:ptCount val="1"/>
                <c:pt idx="0">
                  <c:v>Passenger traffic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BF1-4D28-9DD1-CD364BE911F1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19E-497F-A34D-97238F57BACC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4-9A9B-427B-8C27-CF61D8E28F2B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119E-497F-A34D-97238F57BACC}"/>
              </c:ext>
            </c:extLst>
          </c:dPt>
          <c:cat>
            <c:strRef>
              <c:f>data!$L$3:$L$15</c:f>
              <c:strCache>
                <c:ptCount val="13"/>
                <c:pt idx="0">
                  <c:v>LG (LT)</c:v>
                </c:pt>
                <c:pt idx="1">
                  <c:v>FTA (FI)</c:v>
                </c:pt>
                <c:pt idx="2">
                  <c:v>CFR Infrastructură (RO)</c:v>
                </c:pt>
                <c:pt idx="3">
                  <c:v>ADIF (ES)</c:v>
                </c:pt>
                <c:pt idx="4">
                  <c:v>PKP (PL)</c:v>
                </c:pt>
                <c:pt idx="5">
                  <c:v>Trafikverket (SE)</c:v>
                </c:pt>
                <c:pt idx="6">
                  <c:v>SZDC (CZ)</c:v>
                </c:pt>
                <c:pt idx="7">
                  <c:v>FS (IT)</c:v>
                </c:pt>
                <c:pt idx="8">
                  <c:v>Infrabel (BE)</c:v>
                </c:pt>
                <c:pt idx="9">
                  <c:v>DB AG (DE)</c:v>
                </c:pt>
                <c:pt idx="10">
                  <c:v>ÖBB (AT)</c:v>
                </c:pt>
                <c:pt idx="11">
                  <c:v>ProRail (NL)</c:v>
                </c:pt>
                <c:pt idx="12">
                  <c:v>SBB (CH)</c:v>
                </c:pt>
              </c:strCache>
            </c:strRef>
          </c:cat>
          <c:val>
            <c:numRef>
              <c:f>data!$M$3:$M$15</c:f>
              <c:numCache>
                <c:formatCode>0.00</c:formatCode>
                <c:ptCount val="13"/>
                <c:pt idx="0">
                  <c:v>9.4295560048984708</c:v>
                </c:pt>
                <c:pt idx="1">
                  <c:v>16.1484037564122</c:v>
                </c:pt>
                <c:pt idx="2">
                  <c:v>16.719168403461101</c:v>
                </c:pt>
                <c:pt idx="3">
                  <c:v>30.709126671842998</c:v>
                </c:pt>
                <c:pt idx="4">
                  <c:v>27.4756380578043</c:v>
                </c:pt>
                <c:pt idx="5">
                  <c:v>34.804228683023702</c:v>
                </c:pt>
                <c:pt idx="6">
                  <c:v>41.654444032546202</c:v>
                </c:pt>
                <c:pt idx="7">
                  <c:v>51.305829158672204</c:v>
                </c:pt>
                <c:pt idx="8">
                  <c:v>63.044588939120999</c:v>
                </c:pt>
                <c:pt idx="9">
                  <c:v>69.926545475980703</c:v>
                </c:pt>
                <c:pt idx="10">
                  <c:v>68.871666369792294</c:v>
                </c:pt>
                <c:pt idx="11">
                  <c:v>127.374980292171</c:v>
                </c:pt>
                <c:pt idx="12">
                  <c:v>137.866687454261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19E-497F-A34D-97238F57BACC}"/>
            </c:ext>
          </c:extLst>
        </c:ser>
        <c:ser>
          <c:idx val="1"/>
          <c:order val="1"/>
          <c:tx>
            <c:strRef>
              <c:f>data!$N$2</c:f>
              <c:strCache>
                <c:ptCount val="1"/>
                <c:pt idx="0">
                  <c:v>Freight traffic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Pt>
            <c:idx val="12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3-9A9B-427B-8C27-CF61D8E28F2B}"/>
              </c:ext>
            </c:extLst>
          </c:dPt>
          <c:cat>
            <c:strRef>
              <c:f>data!$L$3:$L$15</c:f>
              <c:strCache>
                <c:ptCount val="13"/>
                <c:pt idx="0">
                  <c:v>LG (LT)</c:v>
                </c:pt>
                <c:pt idx="1">
                  <c:v>FTA (FI)</c:v>
                </c:pt>
                <c:pt idx="2">
                  <c:v>CFR Infrastructură (RO)</c:v>
                </c:pt>
                <c:pt idx="3">
                  <c:v>ADIF (ES)</c:v>
                </c:pt>
                <c:pt idx="4">
                  <c:v>PKP (PL)</c:v>
                </c:pt>
                <c:pt idx="5">
                  <c:v>Trafikverket (SE)</c:v>
                </c:pt>
                <c:pt idx="6">
                  <c:v>SZDC (CZ)</c:v>
                </c:pt>
                <c:pt idx="7">
                  <c:v>FS (IT)</c:v>
                </c:pt>
                <c:pt idx="8">
                  <c:v>Infrabel (BE)</c:v>
                </c:pt>
                <c:pt idx="9">
                  <c:v>DB AG (DE)</c:v>
                </c:pt>
                <c:pt idx="10">
                  <c:v>ÖBB (AT)</c:v>
                </c:pt>
                <c:pt idx="11">
                  <c:v>ProRail (NL)</c:v>
                </c:pt>
                <c:pt idx="12">
                  <c:v>SBB (CH)</c:v>
                </c:pt>
              </c:strCache>
            </c:strRef>
          </c:cat>
          <c:val>
            <c:numRef>
              <c:f>data!$N$3:$N$15</c:f>
              <c:numCache>
                <c:formatCode>0.00</c:formatCode>
                <c:ptCount val="13"/>
                <c:pt idx="0">
                  <c:v>6.96465696465697</c:v>
                </c:pt>
                <c:pt idx="1">
                  <c:v>5.8055327180722296</c:v>
                </c:pt>
                <c:pt idx="2">
                  <c:v>5.6141799856754799</c:v>
                </c:pt>
                <c:pt idx="3">
                  <c:v>4.3836666879672803</c:v>
                </c:pt>
                <c:pt idx="4">
                  <c:v>11.8222252006428</c:v>
                </c:pt>
                <c:pt idx="5">
                  <c:v>10.328157542713001</c:v>
                </c:pt>
                <c:pt idx="6">
                  <c:v>10.2719945141008</c:v>
                </c:pt>
                <c:pt idx="7">
                  <c:v>8.1897634329207101</c:v>
                </c:pt>
                <c:pt idx="8">
                  <c:v>6.9465499091667899</c:v>
                </c:pt>
                <c:pt idx="9">
                  <c:v>21.569365893914998</c:v>
                </c:pt>
                <c:pt idx="10">
                  <c:v>24.9223060124122</c:v>
                </c:pt>
                <c:pt idx="11">
                  <c:v>9.5943718946092904</c:v>
                </c:pt>
                <c:pt idx="12">
                  <c:v>23.0590703815842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19E-497F-A34D-97238F57BA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59135488"/>
        <c:axId val="59112832"/>
      </c:barChart>
      <c:valAx>
        <c:axId val="59112832"/>
        <c:scaling>
          <c:orientation val="minMax"/>
          <c:max val="2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#,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59135488"/>
        <c:crosses val="autoZero"/>
        <c:crossBetween val="between"/>
        <c:majorUnit val="50"/>
      </c:valAx>
      <c:catAx>
        <c:axId val="59135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>
            <a:solidFill>
              <a:schemeClr val="tx2"/>
            </a:solidFill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59112832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18531415910283836"/>
          <c:y val="0.88185825591518729"/>
          <c:w val="0.27623831443418145"/>
          <c:h val="5.4723184121952026E-2"/>
        </c:manualLayout>
      </c:layout>
      <c:overlay val="0"/>
      <c:txPr>
        <a:bodyPr/>
        <a:lstStyle/>
        <a:p>
          <a:pPr>
            <a:defRPr sz="11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33</cdr:x>
      <cdr:y>0.0141</cdr:y>
    </cdr:from>
    <cdr:to>
      <cdr:x>0.90375</cdr:x>
      <cdr:y>0.06743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9896596" y="63972"/>
          <a:ext cx="840542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>
              <a:solidFill>
                <a:schemeClr val="tx2"/>
              </a:solidFill>
            </a:rPr>
            <a:t>Train </a:t>
          </a:r>
          <a:r>
            <a:rPr lang="de-CH" sz="1100" dirty="0" err="1">
              <a:solidFill>
                <a:schemeClr val="tx2"/>
              </a:solidFill>
            </a:rPr>
            <a:t>density</a:t>
          </a:r>
          <a:endParaRPr lang="de-CH" sz="1100" dirty="0">
            <a:solidFill>
              <a:schemeClr val="tx2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75102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7BD3A32-863E-497D-9FA4-FE04E53F3B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7BD3A32-863E-497D-9FA4-FE04E53F3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4EFEE514-0EE2-4596-96E1-488544687B5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twork load in Europe in 2023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068604454"/>
              </p:ext>
            </p:extLst>
          </p:nvPr>
        </p:nvGraphicFramePr>
        <p:xfrm>
          <a:off x="1" y="1583795"/>
          <a:ext cx="11880668" cy="4537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51A102DA-4F4E-474F-9E16-1E7F70764A16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ources: UIC, </a:t>
            </a:r>
            <a:r>
              <a:rPr kumimoji="0" lang="de-CH" sz="900" b="0" i="0" u="none" strike="noStrike" kern="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</a:t>
            </a:r>
            <a:r>
              <a:rPr kumimoji="0" lang="de-CH" sz="9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0D4BB6A-0DD0-4B80-9845-0467B947A6BE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Average number of trains per route per day on the railway infrastructure.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CB2EBD8C-0882-42C3-B5F5-BA01B7BFF2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3943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B2E94FB4-FF5A-4A4F-2647-59A1E4A5872A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41209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ZMyL6UQqm685QJIi11w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C6312B2-CCF7-4658-9028-1CD8A57600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www.w3.org/XML/1998/namespace"/>
    <ds:schemaRef ds:uri="http://purl.org/dc/terms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2f5c8543-cf23-4718-a3b8-32b0a91d511a"/>
    <ds:schemaRef ds:uri="http://schemas.openxmlformats.org/package/2006/metadata/core-properties"/>
    <ds:schemaRef ds:uri="96e82a89-ba48-4728-b345-cf206dbec8f1"/>
    <ds:schemaRef ds:uri="http://schemas.microsoft.com/office/2006/metadata/properties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7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Network load in Europe in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twork load in Europe in 2023.</dc:title>
  <dc:creator>Meyer Raphael (KOM-PGA-VSF)</dc:creator>
  <cp:lastModifiedBy>Stefan Weigel (PAR-EPS)</cp:lastModifiedBy>
  <cp:revision>24</cp:revision>
  <cp:lastPrinted>2024-02-13T15:46:53Z</cp:lastPrinted>
  <dcterms:created xsi:type="dcterms:W3CDTF">2020-09-30T11:00:09Z</dcterms:created>
  <dcterms:modified xsi:type="dcterms:W3CDTF">2025-02-24T13:01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